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charts/chart16.xml" ContentType="application/vnd.openxmlformats-officedocument.drawingml.chart+xml"/>
  <Override PartName="/ppt/tags/tag44.xml" ContentType="application/vnd.openxmlformats-officedocument.presentationml.tags+xml"/>
  <Override PartName="/ppt/charts/chart17.xml" ContentType="application/vnd.openxmlformats-officedocument.drawingml.chart+xml"/>
  <Override PartName="/ppt/tags/tag45.xml" ContentType="application/vnd.openxmlformats-officedocument.presentationml.tags+xml"/>
  <Override PartName="/ppt/charts/chart18.xml" ContentType="application/vnd.openxmlformats-officedocument.drawingml.chart+xml"/>
  <Override PartName="/ppt/tags/tag46.xml" ContentType="application/vnd.openxmlformats-officedocument.presentationml.tags+xml"/>
  <Override PartName="/ppt/charts/chart19.xml" ContentType="application/vnd.openxmlformats-officedocument.drawingml.chart+xml"/>
  <Override PartName="/ppt/tags/tag47.xml" ContentType="application/vnd.openxmlformats-officedocument.presentationml.tags+xml"/>
  <Override PartName="/ppt/charts/chart20.xml" ContentType="application/vnd.openxmlformats-officedocument.drawingml.chart+xml"/>
  <Override PartName="/ppt/tags/tag48.xml" ContentType="application/vnd.openxmlformats-officedocument.presentationml.tags+xml"/>
  <Override PartName="/ppt/notesSlides/notesSlide1.xml" ContentType="application/vnd.openxmlformats-officedocument.presentationml.notesSlide+xml"/>
  <Override PartName="/ppt/tags/tag49.xml" ContentType="application/vnd.openxmlformats-officedocument.presentationml.tags+xml"/>
  <Override PartName="/ppt/notesSlides/notesSlide2.xml" ContentType="application/vnd.openxmlformats-officedocument.presentationml.notesSlide+xml"/>
  <Override PartName="/ppt/tags/tag50.xml" ContentType="application/vnd.openxmlformats-officedocument.presentationml.tags+xml"/>
  <Override PartName="/ppt/notesSlides/notesSlide3.xml" ContentType="application/vnd.openxmlformats-officedocument.presentationml.notesSlide+xml"/>
  <Override PartName="/ppt/tags/tag51.xml" ContentType="application/vnd.openxmlformats-officedocument.presentationml.tags+xml"/>
  <Override PartName="/ppt/notesSlides/notesSlide4.xml" ContentType="application/vnd.openxmlformats-officedocument.presentationml.notesSlide+xml"/>
  <Override PartName="/ppt/tags/tag52.xml" ContentType="application/vnd.openxmlformats-officedocument.presentationml.tags+xml"/>
  <Override PartName="/ppt/notesSlides/notesSlide5.xml" ContentType="application/vnd.openxmlformats-officedocument.presentationml.notesSlide+xml"/>
  <Override PartName="/ppt/tags/tag53.xml" ContentType="application/vnd.openxmlformats-officedocument.presentationml.tags+xml"/>
  <Override PartName="/ppt/notesSlides/notesSlide6.xml" ContentType="application/vnd.openxmlformats-officedocument.presentationml.notesSlide+xml"/>
  <Override PartName="/ppt/tags/tag54.xml" ContentType="application/vnd.openxmlformats-officedocument.presentationml.tags+xml"/>
  <Override PartName="/ppt/charts/chart21.xml" ContentType="application/vnd.openxmlformats-officedocument.drawingml.chart+xml"/>
  <Override PartName="/ppt/tags/tag55.xml" ContentType="application/vnd.openxmlformats-officedocument.presentationml.tags+xml"/>
  <Override PartName="/ppt/charts/chart22.xml" ContentType="application/vnd.openxmlformats-officedocument.drawingml.chart+xml"/>
  <Override PartName="/ppt/tags/tag56.xml" ContentType="application/vnd.openxmlformats-officedocument.presentationml.tags+xml"/>
  <Override PartName="/ppt/charts/chart23.xml" ContentType="application/vnd.openxmlformats-officedocument.drawingml.chart+xml"/>
  <Override PartName="/ppt/tags/tag57.xml" ContentType="application/vnd.openxmlformats-officedocument.presentationml.tags+xml"/>
  <Override PartName="/ppt/charts/chart24.xml" ContentType="application/vnd.openxmlformats-officedocument.drawingml.chart+xml"/>
  <Override PartName="/ppt/tags/tag58.xml" ContentType="application/vnd.openxmlformats-officedocument.presentationml.tags+xml"/>
  <Override PartName="/ppt/charts/chart25.xml" ContentType="application/vnd.openxmlformats-officedocument.drawingml.chart+xml"/>
  <Override PartName="/ppt/tags/tag59.xml" ContentType="application/vnd.openxmlformats-officedocument.presentationml.tags+xml"/>
  <Override PartName="/ppt/charts/chart26.xml" ContentType="application/vnd.openxmlformats-officedocument.drawingml.chart+xml"/>
  <Override PartName="/ppt/tags/tag60.xml" ContentType="application/vnd.openxmlformats-officedocument.presentationml.tags+xml"/>
  <Override PartName="/ppt/charts/chart27.xml" ContentType="application/vnd.openxmlformats-officedocument.drawingml.chart+xml"/>
  <Override PartName="/ppt/tags/tag61.xml" ContentType="application/vnd.openxmlformats-officedocument.presentationml.tags+xml"/>
  <Override PartName="/ppt/charts/chart28.xml" ContentType="application/vnd.openxmlformats-officedocument.drawingml.chart+xml"/>
  <Override PartName="/ppt/tags/tag62.xml" ContentType="application/vnd.openxmlformats-officedocument.presentationml.tags+xml"/>
  <Override PartName="/ppt/charts/chart29.xml" ContentType="application/vnd.openxmlformats-officedocument.drawingml.chart+xml"/>
  <Override PartName="/ppt/tags/tag63.xml" ContentType="application/vnd.openxmlformats-officedocument.presentationml.tags+xml"/>
  <Override PartName="/ppt/charts/chart30.xml" ContentType="application/vnd.openxmlformats-officedocument.drawingml.chart+xml"/>
  <Override PartName="/ppt/tags/tag64.xml" ContentType="application/vnd.openxmlformats-officedocument.presentationml.tags+xml"/>
  <Override PartName="/ppt/charts/chart31.xml" ContentType="application/vnd.openxmlformats-officedocument.drawingml.chart+xml"/>
  <Override PartName="/ppt/tags/tag65.xml" ContentType="application/vnd.openxmlformats-officedocument.presentationml.tags+xml"/>
  <Override PartName="/ppt/charts/chart32.xml" ContentType="application/vnd.openxmlformats-officedocument.drawingml.chart+xml"/>
  <Override PartName="/ppt/tags/tag66.xml" ContentType="application/vnd.openxmlformats-officedocument.presentationml.tags+xml"/>
  <Override PartName="/ppt/charts/chart33.xml" ContentType="application/vnd.openxmlformats-officedocument.drawingml.chart+xml"/>
  <Override PartName="/ppt/tags/tag67.xml" ContentType="application/vnd.openxmlformats-officedocument.presentationml.tags+xml"/>
  <Override PartName="/ppt/charts/chart34.xml" ContentType="application/vnd.openxmlformats-officedocument.drawingml.chart+xml"/>
  <Override PartName="/ppt/tags/tag68.xml" ContentType="application/vnd.openxmlformats-officedocument.presentationml.tags+xml"/>
  <Override PartName="/ppt/charts/chart35.xml" ContentType="application/vnd.openxmlformats-officedocument.drawingml.chart+xml"/>
  <Override PartName="/ppt/tags/tag69.xml" ContentType="application/vnd.openxmlformats-officedocument.presentationml.tags+xml"/>
  <Override PartName="/ppt/charts/chart36.xml" ContentType="application/vnd.openxmlformats-officedocument.drawingml.chart+xml"/>
  <Override PartName="/ppt/tags/tag70.xml" ContentType="application/vnd.openxmlformats-officedocument.presentationml.tags+xml"/>
  <Override PartName="/ppt/charts/chart37.xml" ContentType="application/vnd.openxmlformats-officedocument.drawingml.chart+xml"/>
  <Override PartName="/ppt/tags/tag71.xml" ContentType="application/vnd.openxmlformats-officedocument.presentationml.tags+xml"/>
  <Override PartName="/ppt/charts/chart38.xml" ContentType="application/vnd.openxmlformats-officedocument.drawingml.chart+xml"/>
  <Override PartName="/ppt/tags/tag72.xml" ContentType="application/vnd.openxmlformats-officedocument.presentationml.tags+xml"/>
  <Override PartName="/ppt/charts/chart39.xml" ContentType="application/vnd.openxmlformats-officedocument.drawingml.chart+xml"/>
  <Override PartName="/ppt/tags/tag73.xml" ContentType="application/vnd.openxmlformats-officedocument.presentationml.tags+xml"/>
  <Override PartName="/ppt/charts/chart40.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51"/>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Analysis" id="{5D92CCBE-F99B-4431-975B-20EF898F48FE}">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 id="2147477384"/>
          </p14:sldIdLst>
        </p14:section>
        <p14:section name="Sectors Share and Growth By Brands" id="{8E0012A5-B6DE-4940-A7FE-75EE71D0CCC3}">
          <p14:sldIdLst>
            <p14:sldId id="2147477385"/>
            <p14:sldId id="2147477386"/>
            <p14:sldId id="2147477387"/>
          </p14:sldIdLst>
        </p14:section>
        <p14:section name="Segments Share and Growth By Brands" id="{D9E8A65D-370D-4B3E-8CE6-0F1519A82F93}">
          <p14:sldIdLst>
            <p14:sldId id="2147477388"/>
            <p14:sldId id="2147477389"/>
            <p14:sldId id="2147477390"/>
          </p14:sldIdLst>
        </p14:section>
        <p14:section name="Price Point Distribution Analysis By Brand" id="{929605E7-9BDA-4D74-98C9-6ABE5BD39E6B}">
          <p14:sldIdLst>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 id="2147477410"/>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72" y="270"/>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EEEF61D-AD64-4144-A5BF-53B413448E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9C28543-C63D-4D3C-A9D9-C412D3AB06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7D4072D-BD34-46A2-B964-3628AD364B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35E1E7A-B218-4D2A-B36F-DEF081A770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C4AFECB-1629-4070-BEDE-ADFABC810B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B659EFA-80E3-442A-AAB1-5FFE9956BF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1698488-6AAA-4BD1-9CA6-BB4F22CBD6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C5C394B-3E00-400A-BFB6-5D19628932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3BE0235-9714-4ACA-ABE7-95913D69FF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5F8AF49-B744-495A-BD86-B3A45B4C32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D1B3F8D-D378-4C40-9DAA-CD01BF38ED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25E7B5D-DF63-46C5-B476-E487AED6D2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FD67716-552B-4A7F-8A6C-39237C8468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0050BA6-D46A-4E06-B80E-931E3CCE07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7695F9B-FD4F-42B3-9E7D-05FE9C28CA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475785A-5C0C-4DCB-BA9D-7A99DEFBB9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A572AD7-D716-4FF5-A1FE-6E0AA60B37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7FE4D3A-F8E1-43C9-9D14-E0BBCFBB40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88D94B6-141D-436E-9110-4F328CB0AD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A9EF285-1DEC-4C79-80CC-6E679624E2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18EAEC4-A44F-43A0-A58B-B1426D0A24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1A1CE6A-D0EB-41FA-A917-235D561A3D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6D3DECF-8BA2-4592-97C7-5481B4A365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5BFF3B9-CE2A-4BF7-AAD9-87441CBEE2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5D79101-BC6A-4503-9AB6-603EAA6C52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E40EA8B-7F95-404C-A496-30C0EE0C23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1D2FCE2-1573-40A5-BD6F-E465D63222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55B4164-17A2-4189-9EC5-D7F0531502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AA2254B-C825-45C0-9D3E-5725537FD4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84B05E9-1724-490D-85FC-35EBA7F3B6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E7849E2-6B06-431D-8DB2-AEC97D3E5D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BE9D2C8-A7F4-49C9-881A-2FE7A4C069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438D07F-9CFA-4B99-86B9-0CCA995219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C5C8374-4477-4263-8BAD-5BB17351C6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EB8D81D-7C88-4ABC-BA3A-21E07DFFF2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FA8DC90-1D71-410A-A66C-4513599EC7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AE3CF42-3AC2-47C1-A062-B62E452221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B2FFEC6-4D4C-450C-96E3-003BD4BCC5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D608AAB-99FD-45D0-AE4C-70634DD4A4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05F847A-7DD0-4F44-ADF0-16C5F27639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02AFFD5-9F3E-486E-B8CD-AFF5072C40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CC9F515-C709-4977-91B5-D176E66B41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2C822B0-5169-4DE8-B965-06762AEAFD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026B895-265A-4C70-9EB2-9FF7C56BE2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8EC2F4A-69F4-4D7A-B22C-77DE541D70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982F92D-96EE-4619-A4AF-0471D18065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B695EA6-3F1A-4513-866D-5E6A894045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D7D528A-68B1-4501-9285-266ECEB990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D50CE50-D985-4DD6-83E7-1DD673216E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4D35CA2-349E-4EC6-8C64-07E48ECC2F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002DAED-B315-4368-90E1-068D2800C6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27EB36B-060F-4E20-BE58-5F0CB89DA4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C822183-8769-4661-B6C7-961B8E74D1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482FFF3-974F-477D-9FA9-9B8681C396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7775AB9-D688-4FA3-B984-A5ADD8F744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33BB47C-1E62-486F-84C6-F09BFF193F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5F5647A-FCB4-4B23-92E5-3582586D8C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188B5FB-560C-425B-8360-0B195849AE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2C323FE-86DF-4909-BCCB-5E764D6F65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D9B31B3-0D01-47D4-B032-25BBE14D0A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03CB34E-AF5F-40AA-988D-6AD0532715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CD153F9-DA52-4B8C-A1E8-94A65B5F31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AAB9F16-6FA4-4BB0-B20F-0F56F3D56A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A4046D0-6CCE-4466-9AAC-AFB2A39194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0365F23-B859-457C-A763-E8D65D2D37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E3A34D8-BACA-4992-A481-ED31A9E2D2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4E6BA29-ABC4-4E62-BCE8-5CE43F0384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5D314C7-ACE1-4148-A548-DF04BB8747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06039EA-79A3-4A20-8817-4E32A802A6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5B734A8-0AC3-4BD3-B026-799DE3D023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A33F9A2-4781-480A-A32B-E68DEA603D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C9D8EAF-F405-4ADF-98DA-7337CE95B5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0836F25-A152-4C59-8F8C-F0337242AF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681D043-C77E-4D7D-ABE5-23F5E1739B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F5FDD4E-B1DC-462F-911A-34DAC018C4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968307A-3BF6-4387-A7AB-D43410117C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F1BB361-7078-40FD-ACEE-9BE2004C41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8D91402-438F-4905-AF29-CEBA8BC19A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360A4BF-946B-4688-9B9E-362E07BD71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72EBBBE-9EDF-4502-93B8-545F2FBC5B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5C56098-DA0A-4905-B6DF-EB6801F29D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23922AB-24F1-44CC-A954-D398366A73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24F42A1-C19A-41DE-9531-8827ED8F09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904ECB8-BBC4-4C1B-9653-B87177A7FC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E5DA0B0-76F8-4503-AEFD-AF0B29F408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5F0259F-3FCE-4B77-B5C4-87337AA77D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BEEFC9E-5E25-49E3-94B8-FCE86AA345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96B560A-0F06-403C-874B-4E94B5F779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5427AB1-28C6-4636-82A2-36D7D7C951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AD60F7A-66A4-495A-B3BA-B811E5E389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625DF50-B341-4987-BFE4-D1C4E4E707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867EB60-9464-4AC9-A6A1-D1087A9C99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74682B4-CD77-4409-BE02-2A0FEDCC63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AF8B05B-D067-4D05-A3CA-068FECEAA5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4B07E6B-29DE-4572-934C-4F4018CC87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EA8BB5E-DBB2-49DA-AC26-7F3F32140B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F44C55D-6E4C-4651-8C89-0659C6E0C1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B86A866-18DC-442E-ADA9-BFEE7F8939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8BF47BA-0CE4-4634-8D6D-C6EEE9EA24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E290EA3-29F3-48AD-B211-C7B40818C5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A113DD9-2F0F-48A0-BF91-346BFB4322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BD734AE-8438-4DBA-ACB4-BC41A6CD28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3496273-2D56-47CE-A2A2-3F1AA65423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A89110C-C9B2-4DD7-ACE0-AD24923DE6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E34C8B3-08CA-4CC7-AAC5-735D80BCF3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80CEA50-2B1E-421C-9841-DCEB779A69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36CBA33-EB0F-4B92-96F4-27274EC21A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950542D-4B73-4491-B10C-15AD73B237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085B293-7F8D-4E0C-9F39-788150D5AB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B5F7F85-0749-4154-B0A9-95D81C7DAA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B9CD23F-2EC9-41EC-BE31-702C37AF8B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D557B76-1EAE-4B3F-87DB-9F680032AB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22B635A-5448-40E6-9BE4-EB1B7A630F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747471D-FE7B-4755-98D5-861A36F9D8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F367B9B-9668-4084-84C7-64A2EAF5F6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EF82453-97A7-4046-907C-34901E416F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DBEF3F2-57B4-4FDD-822A-0CA37804B2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B844C58-7E95-4561-80AB-7AD3BC7BB0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6C1A187-946A-492F-ABD9-D16A021A1D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273EFF9-8C18-4AE2-9F2E-217F14354D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FA16914-3AA7-4AD3-9020-D14878AD03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88FB5B2-821C-4A3D-A01D-226271CC7E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429CF4D-98E0-4346-AEA3-072DE15D13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D8AB6AD-F6FF-4609-97F3-1790C7E924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8AA31B7-93B9-44CB-A283-7605047DBD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4ED83AE-DC38-4BB8-8FB8-4D1E91FCF4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F628084-6E5F-4207-A6C1-02277FADC0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19C2773-6076-4AE2-8742-2D4F6D4175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0991991-B7F3-4A10-98E6-5C87B30BC5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F60988E-FD06-4DCA-BFC2-5F2DE160C6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38226E9-589E-45DE-8E0D-95931033B0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9657CE6-8D3C-4DAF-AA03-8D295DA332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7E1BEE0-74AA-4C3C-9C39-511767ED36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06601A1-7DEA-4F6E-97DF-5D5D01596D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83C15C6-A914-4B21-9358-E000A7BB8E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858B33D-EDAD-4120-A53E-DFDC633759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7E01D30-20F5-4C25-A03E-1F9F74FE81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7AEBED5-B720-414B-B6B0-3463CFB25B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B6EC678-BDD7-4DF0-A66F-6789217C30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942C5A2-19A4-4F03-8754-FA0CC39398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FA50164-3375-4645-AE67-390DA4ACBE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3D00B0C-63AB-4DA8-81DD-242C118AC3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1F2CD88-E21C-4127-BD72-88A1C31006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D5BC5A2-07C6-43F2-925D-985CE4C6BF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9786FD3-C2ED-4B01-BF61-7B4051F5C6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7934B6A-1CC6-450A-857B-A147D181EF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0CA1A46-B2AB-46E6-B84B-479F37EBBE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D995B5B-24D1-4193-91BC-C744412DD5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B1983D3-D63C-4AC9-99B6-ADF425EDE0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8086A18-FE3A-4066-8D38-56D08D9A6A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D11E2E2-24A8-40B3-9221-2B679B9646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DD60F82-970F-4E3D-8FFA-8223EEB53F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D165573-8FC3-4641-92F0-1113C2FD37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1013BDA-1C3E-4F55-BA64-100FDE87F0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07B50C4-2D50-460A-9433-93B130D69E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0BA7E9C-CBBA-4F19-8099-29DCDF2FDF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34BB193-7D7D-4347-BC4E-0AF5ABF1D5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5E0B02F-2F4F-4BD9-B362-A64872B313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6C41E1F-CCEF-42E0-9980-EF3948BE30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1FAB33C-B299-48A2-BF3C-4519DA1C4F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9/09/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9/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0.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1.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3.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24.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25.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26.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27.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28.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29.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30.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31.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32.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33.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34.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35.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36.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37.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38.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39.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40.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713971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543619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689241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068490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560226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233537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790523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108541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402762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47109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658231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626838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577839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6598193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54894273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6444668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51376422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3640659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3055520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7516243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280145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7506028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588254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4757658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6804356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63529974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00584162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09089515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290208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9882704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07073437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80292310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6499770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3037729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15212412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30668552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852895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18717594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64257926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84013942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5865741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126983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858394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468151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891604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2701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5280</Words>
  <Application>Microsoft Office PowerPoint</Application>
  <PresentationFormat>On-screen Show (16:9)</PresentationFormat>
  <Paragraphs>1824</Paragraphs>
  <Slides>46</Slides>
  <Notes>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6</vt:i4>
      </vt:variant>
    </vt:vector>
  </HeadingPairs>
  <TitlesOfParts>
    <vt:vector size="56"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55</cp:revision>
  <dcterms:created xsi:type="dcterms:W3CDTF">2024-07-05T14:56:51Z</dcterms:created>
  <dcterms:modified xsi:type="dcterms:W3CDTF">2025-09-09T10:02: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